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9144000" cy="6858000" type="screen4x3"/>
  <p:notesSz cx="6858000" cy="9144000"/>
  <p:custDataLst>
    <p:tags r:id="rId4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0" d="100"/>
          <a:sy n="70" d="100"/>
        </p:scale>
        <p:origin x="-1144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48D519-65F8-4F43-9BC9-25A15BF5E736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EDA5C-F455-4C0D-886A-B5EC79D7CA39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51727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EEDA5C-F455-4C0D-886A-B5EC79D7CA39}" type="slidenum">
              <a:rPr lang="tr-TR" smtClean="0"/>
              <a:t>1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2503360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499768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512176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123285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1684137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428917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378949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535663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0954837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04134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865767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79725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190730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75689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048179-8267-4801-A17B-C38B850E092F}" type="datetimeFigureOut">
              <a:rPr lang="tr-TR" smtClean="0"/>
              <a:t>19.10.2017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A440E4-9171-4119-815C-C312065AB97E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7800417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7" Type="http://schemas.openxmlformats.org/officeDocument/2006/relationships/tags" Target="../tags/tag9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29" Type="http://schemas.openxmlformats.org/officeDocument/2006/relationships/tags" Target="../tags/tag31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image" Target="../media/image2.emf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notesSlide" Target="../notesSlides/notesSlide1.xml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slideLayout" Target="../slideLayouts/slideLayout7.xml"/><Relationship Id="rId61" Type="http://schemas.openxmlformats.org/officeDocument/2006/relationships/oleObject" Target="../embeddings/oleObject4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image" Target="../media/image1.emf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Nesne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6383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8" name="think-cell Slide" r:id="rId59" imgW="416" imgH="416" progId="TCLayout.ActiveDocument.1">
                  <p:embed/>
                </p:oleObj>
              </mc:Choice>
              <mc:Fallback>
                <p:oleObj name="think-cell Slide" r:id="rId59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2" name="Nesne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5277985"/>
              </p:ext>
            </p:extLst>
          </p:nvPr>
        </p:nvGraphicFramePr>
        <p:xfrm>
          <a:off x="101600" y="1511301"/>
          <a:ext cx="9353719" cy="30669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9" name="Çizelge" r:id="rId61" imgW="9353719" imgH="3066981" progId="MSGraph.Chart.8">
                  <p:embed followColorScheme="full"/>
                </p:oleObj>
              </mc:Choice>
              <mc:Fallback>
                <p:oleObj name="Çizelge" r:id="rId61" imgW="9353719" imgH="306698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01600" y="1511301"/>
                        <a:ext cx="9353719" cy="30669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3" name="Düz Bağlayıcı 212"/>
          <p:cNvCxnSpPr/>
          <p:nvPr>
            <p:custDataLst>
              <p:tags r:id="rId5"/>
            </p:custDataLst>
          </p:nvPr>
        </p:nvCxnSpPr>
        <p:spPr bwMode="auto">
          <a:xfrm>
            <a:off x="219075" y="4300538"/>
            <a:ext cx="96838" cy="144463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2" name="Düz Bağlayıcı 211"/>
          <p:cNvCxnSpPr/>
          <p:nvPr>
            <p:custDataLst>
              <p:tags r:id="rId6"/>
            </p:custDataLst>
          </p:nvPr>
        </p:nvCxnSpPr>
        <p:spPr bwMode="auto">
          <a:xfrm>
            <a:off x="219075" y="4037013"/>
            <a:ext cx="96838" cy="261938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Metin Yer Tutucusu 2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70739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26D12C-436E-4B32-91C6-74BA2D1F8D8A}" type="datetime'''''''''''''''''''''''''''2'',''''7''''''''''''''''''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6" name="Metin Yer Tutucusu 2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9850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A7307BA-B71E-4FB2-A9B1-012AC0A156D9}" type="datetime'''''''''''''10''''0'''''''''''',''''''0''''''''''''''''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9" name="Metin Yer Tutucusu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262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1A93B5-8E12-4DBB-9666-2EDA574C3CC8}" type="datetime'''''''''''''''''''2''''''''''0''''''''''''''''''''''1''''''6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9" name="Metin Yer Tutucusu 118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-231775" y="4194175"/>
            <a:ext cx="425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772CDE1-8910-464B-B26C-0084D0D55572}" type="datetime'''D''''''''iğ''''e''''''''''''''''''''''''''''''''''r''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ğer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8" name="Metin Yer Tutucusu 1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-44450" y="3930650"/>
            <a:ext cx="2381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99B209E-F84C-4D74-9890-30542497ED5A}" type="datetime'''''''''''''''''''''TL''''''''''''''''''''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L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2" name="Metin Yer Tutucusu 2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2042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FD9859-D52A-4B6B-BA83-5320B38AE3EB}" type="datetime'''''1''''''''''0''''''''0'',''''''''''''''''0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7" name="Metin Yer Tutucusu 11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-188913" y="3656013"/>
            <a:ext cx="3825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B9A09CA-F7E4-4AD7-96F7-A559FE261266}" type="datetime'''''''''''''''''E''''''''''u''r''''''''''o''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6" name="Metin Yer Tutucusu 115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-711200" y="2373313"/>
            <a:ext cx="9048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EA5C9BDE-8F47-4FFC-B945-7EB2289B0725}" type="datetime'A''''''''''''B''D'''''' ''''''''''''D''''''''o''''l''ar''ı'''">
              <a:rPr lang="en-US" sz="14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ABD Doları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1" name="Metin Yer Tutucusu 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16900" y="4667250"/>
            <a:ext cx="4270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C9F8D90-B86B-40BA-AD72-CCEF4DFA4D57}" type="datetime'''''''''''''''''''2''017''''''''''-''Q''''''2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9" name="Metin Yer Tutucusu 2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5946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B9B0CBF-F335-4A48-BE75-4B80A9A14CC6}" type="datetime'1''''''''0''''0,''''''''''''''''''''''''''''''''''''''0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3" name="Metin Yer Tutucusu 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82931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00B24B8-F7E8-4A0D-BC51-0B8AD0E6240A}" type="datetime'''''2'''''''''''''''''''''''''',''''7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48" name="Metin Yer Tutucusu 4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607300" y="4667249"/>
            <a:ext cx="427038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5648208-EB81-4A0A-BA99-F3C59C2A4769}" type="datetime'''20''''''1''''''''''''''''''''''''''''7''-Q''''1''''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0" name="Metin Yer Tutucusu 2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76835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C6AE12-9006-4303-9253-D3E4588CCCD0}" type="datetime'''''''''''''''2'''''''''''''',''7''''''''''''''''''''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7" name="Metin Yer Tutucusu 126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5466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25C73DF-DFA1-4DC3-8A5C-C7AE56FB3E85}" type="datetime'''''''''''''''''''''''1''''''''''''0''0,0''''''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" name="Metin Yer Tutucusu 18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1974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10291C1-F791-453B-AD81-51D6F2CF9B78}" type="datetime'''''''''''''''''''''''2''''''''''''''0''''''''13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3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4" name="Metin Yer Tutucusu 153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635500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3E759E-8FD5-40C1-8DDD-84427F308ECA}" type="datetime'''2,''''''''''4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4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2" name="Metin Yer Tutucusu 16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8547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02A227-E42E-479A-8CBA-09E0350F454E}" type="datetime'''''''''''''''''''2'''',''7''''''''''''''''''''''''''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5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3754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B8024A-9B02-4AB8-8595-D83459621EB4}" type="datetime'10''''''''''''''0'''''''''''''''''''''''',''''''''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8" name="Metin Yer Tutucusu 127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1562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C8AE33C-2CC2-47B4-BBA4-FE9E769C954E}" type="datetime'1''''''''''''''''''''''''''''''''''''''''''0''''0,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19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58070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6780E2-B8E9-45E5-8992-A52E90F4AFC0}" type="datetime'''''''''''''''''''''''''''''''20''''''1''''''''4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4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64166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E747A9-E94F-48A6-A23A-1B4DB255DD7A}" type="datetime'''''''''2''''''''''''''''''''''''''0''1''''''5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9" name="Metin Yer Tutucusu 128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57658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1C28E2-8E43-4D1F-A162-E75575211FDF}" type="datetime'''''1''''''0''''''''''''''''0'''''''''''''',''''''0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8" name="Metin Yer Tutucusu 157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245100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5F832D-BDBF-4CC3-9794-628BE89E863A}" type="datetime'2'''''''''''',''''''''''''''''''5''''''''''''''''''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" name="Metin Yer Tutucusu 17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45878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BB42E6A-32CF-41C7-A2B1-308065A2BCEF}" type="datetime'''2''''''''''0''''''''''''''1''''''2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2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6"/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64643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A53F5A7-90C4-44E2-9937-3712D5AAA7CD}" type="datetime'''''''''''''''''''''''''''''2'''''''''''''''''',''''''7''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0" name="Metin Yer Tutucusu 149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025900" y="43513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A75840A-17CE-42EF-B2CD-C9E45B5CF609}" type="datetime'''''''1'',''''''''''''''''''''''''''''''''''''''''''''8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1,8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6" name="Metin Yer Tutucusu 145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3416300" y="43513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E6B4DD-B579-4DFA-BFFD-60815779AF15}" type="datetime'''''''''''''''''''''''''''1'''''''''''''''''''',9'''''">
              <a:rPr lang="en-US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1,9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" name="Metin Yer Tutucusu 1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1494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237BBC-8288-48E9-9EB3-C41B15672680}" type="datetime'''''2''0''0''''''''''''''''''8''''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8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5" name="Metin Yer Tutucusu 124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33274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0D4C80-1A20-4704-A2A3-ADD22BA7A054}" type="datetime'1''0''0'''''''''''''''''''''''''''''''''''''''',''''''''0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3" name="Metin Yer Tutucusu 12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21082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6A0164-70C0-4B15-BE76-82F3B2019546}" type="datetime'1''''''''''0''''''0'''''''''''''''',''''''''''''0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" name="Metin Yer Tutucusu 15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33686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42304C-6350-4C5F-87D0-7BB6131D456E}" type="datetime'''''''''''''2''''''''''''''0''1''''''''''''''''0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6" name="Metin Yer Tutucusu 125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39370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1A8A819-0025-4879-8FCC-1D3D083C440E}" type="datetime'''''''''''''''''''''''''''''''''''1''''0''''''''''''0,''''0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2" name="Metin Yer Tutucusu 141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2806700" y="434816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33D8637-7072-48CD-91DA-6C029251140D}" type="datetime'''''''2'''''',0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0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4" name="Metin Yer Tutucusu 123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27178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6859B5-C0AA-4CF8-9B76-0DF9956A56F6}" type="datetime'1''0''''''''''''0'''''''''''',''0''''''''''''''''''''''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" name="Metin Yer Tutucusu 16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3983038" y="4667250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AB71D1C-4ABA-4552-8C1C-5458E7BDCB9D}" type="datetime'''2''''''0''''''''''''''1''''''''''''''''''''''''1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11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5" name="Metin Yer Tutucusu 14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7590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42BFE76-DEFC-466C-BE04-C60BDA8CE0F7}" type="datetime'2''''''''''''''''''''''''''''''''''''''0''''''''''0''9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9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" name="Metin Yer Tutucusu 6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15398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5EA643-0FC5-4863-B561-C32197754AD7}" type="datetime'20''''''''''''''0''''''''''''''''''7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7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8" name="Metin Yer Tutucusu 137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2197100" y="434816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01C4953-76AE-4133-90B7-DB85353A423A}" type="datetime'2'',''''''''''''''''''''''''''''''''''''1''''''''''''''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1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1" name="Metin Yer Tutucusu 120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8890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CD1E3F5-D542-4E12-89B6-9C8655F04C33}" type="datetime'''''''''''''''''''''''''''''''''10''0'',''''0''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" name="Metin Yer Tutucusu 5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9302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B411AB-8ECA-42A4-81C6-2B46EDA58A71}" type="datetime'''''''''''''''''2''''''0''''''06''''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6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0" name="Metin Yer Tutucusu 129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977900" y="434181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914DAB9-18D4-412D-B05B-A163F4A44E3D}" type="datetime'''2'''''''''''''''''''''''''''''',''''''''''''''''''5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2" name="Metin Yer Tutucusu 121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14986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E2B846-3C09-447B-9398-5A530573E7C5}" type="datetime'''''''1''''''''''''0''''''''''0'''''''''''',''0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" name="Metin Yer Tutucusu 4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320675" y="4667250"/>
            <a:ext cx="3683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4016CAC-F8E6-4EFA-81EA-9E4E26E14202}" type="datetime'''''''''''''''''2''''''''''''0''0''5'''''''''''''''">
              <a:rPr lang="en-US" altLang="en-US" sz="1400" b="1">
                <a:latin typeface="Times New Roman"/>
                <a:cs typeface="Times New Roman"/>
                <a:sym typeface="Times New Roman"/>
              </a:rPr>
              <a:pPr/>
              <a:t>2005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0" name="Metin Yer Tutucusu 119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2794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B08301-F891-4A76-A1F3-2C286DF7168D}" type="datetime'''''''''''''''''''1''''''0''''''''''''''0'''''''''''',''0'">
              <a:rPr lang="en-US" sz="1400" b="1">
                <a:latin typeface="Times New Roman"/>
                <a:cs typeface="Times New Roman"/>
                <a:sym typeface="Times New Roman"/>
              </a:rPr>
              <a:pPr/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4" name="Metin Yer Tutucusu 165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284163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9D8EC1-FC77-4E0A-94AF-E245E79610B4}" type="datetime'''''''2,''''''''''''''''''''''''''7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7" name="Metin Yer Tutucusu 168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452438" y="4192588"/>
            <a:ext cx="273050" cy="21272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8D70CBF-DF05-4D4B-B3FE-FC2A0FC2F91A}" type="datetime'''''7'''''''''''''''''''''''''',5''''''''''''''''''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,5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4" name="Metin Yer Tutucusu 133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587500" y="4338638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8F4FEB3-FFC5-4EC5-AB42-3723463497F4}" type="datetime'''''''''''''''''2'''''''''''''',''''''''7'''''">
              <a:rPr 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,7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6" name="Metin Yer Tutucusu 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8902700" y="4335463"/>
            <a:ext cx="273050" cy="212725"/>
          </a:xfrm>
          <a:prstGeom prst="rect">
            <a:avLst/>
          </a:prstGeom>
          <a:solidFill>
            <a:schemeClr val="folHlink"/>
          </a:solidFill>
        </p:spPr>
        <p:txBody>
          <a:bodyPr vert="horz" wrap="none" lIns="25400" tIns="0" rIns="2540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528587-A052-4C6E-A9E2-71C1F1113F61}" type="datetime'''''''''''''''2'''''''''''''''''',''''''''''''9'">
              <a:rPr lang="tr-TR" altLang="en-US" sz="1400" b="1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,9</a:t>
            </a:fld>
            <a:endParaRPr lang="tr-TR" sz="1400" b="1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4" name="Metin Yer Tutucusu 4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8731250" y="4667250"/>
            <a:ext cx="6159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D658E9-ECCA-4F6A-9F57-D9186769CE61}" type="datetime'''''''''''''''''20''1''7''''''''-''Ağus''t''''''os'''''''''">
              <a:rPr lang="tr-TR" altLang="en-US" sz="1400" b="1">
                <a:latin typeface="Times New Roman"/>
                <a:cs typeface="Times New Roman"/>
                <a:sym typeface="Times New Roman"/>
              </a:rPr>
              <a:pPr/>
              <a:t>2017-Ağustos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5" name="Metin Yer Tutucusu 2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8813800" y="1387475"/>
            <a:ext cx="4508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4A5436F-688C-49F0-BFE1-04A6ECB2424D}" type="datetime'''''''''''''''''''''''100'',''''''''''''''''''''''0'''''">
              <a:rPr lang="tr-TR" altLang="en-US" sz="14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,0</a:t>
            </a:fld>
            <a:endParaRPr lang="tr-TR" sz="1400" b="1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95175756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a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1.00000000000000000000E+000&quot;&gt;&lt;m_msothmcolidx val=&quot;0&quot;/&gt;&lt;m_rgb r=&quot;56&quot; g=&quot;9C&quot; b=&quot;54&quot;/&gt;&lt;m_nBrightness val=&quot;0&quot;/&gt;&lt;/elem&gt;&lt;elem m_fUsage=&quot;9.00000000000000020000E-001&quot;&gt;&lt;m_msothmcolidx val=&quot;0&quot;/&gt;&lt;m_rgb r=&quot;FD&quot; g=&quot;C7&quot; b=&quot;0B&quot;/&gt;&lt;m_nBrightness val=&quot;0&quot;/&gt;&lt;/elem&gt;&lt;elem m_fUsage=&quot;8.10000000000000050000E-001&quot;&gt;&lt;m_msothmcolidx val=&quot;0&quot;/&gt;&lt;m_rgb r=&quot;2B&quot; g=&quot;F3&quot; b=&quot;F9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M6V_CBTFWDd1NkZxFD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W9x_4xFQ_SLRnKvhPxGZ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u6ayI_JUu93jUGijeHO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u7Cm0ztUi0uHLiwHv9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N73C5KT3GII8c3S4mGI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YTVkeB2EKeUovbr9Lm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iZBhg00E6ZuUDTZqlS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2EuL.ISXWlkK7Tpoko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8QlvvKR9eO97ACtF5Q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9IbPEH0QMWPeagTtFg.H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_useLlSzqnrh67YN_Rt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CyjmQiSI6BPmfSzE.CC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fMMSeTV0usSCKCJnRDG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uMmw94ok2amLYhv_w3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OCNL1TnU..iBmAiyIz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Z3._FzQ0WMKv0RO5Cy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mMIueXDU6pEPmLYKJ9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EZv6oFwUmWmIYIYrUU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DnQIXTu0uZqzNx2wOm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IzJUWuq2Eeaz9F9QveQ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SD9EBz9kieh4BiqSral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q.6i19Ck.aiXn7imTI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4_OjKjn0auUn2JHJRHH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XtpktTSUOCt03zvcOQq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xdpN6fN0avPidDTGp3V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hXCVLNBUCHYM4H35Oi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k6f0o.WkO9QVtvE.Kw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n9asgdcPU.d1uPW82Nif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paahyMyU.YbHP0Kdef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Gu5ydM_UGGmdBSJ8xB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_DLupu_Uegb1nI3qUn_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2bK1IXlEyDas7NUVdiX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GqDz5jkEO2sBjKTcfPB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5e6XhMykq1LDClKlqG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Mn8edw5E2B..XDS1cc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4TYmgBZkCJ7O1TWvBy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ceyIUcokO6zgr8gGw8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wm4Iklx0yhhEhTYnbXb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zpKvBIVUKFDzNi0lQO0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EkRXF5y0.8qFpkYm1ew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LtcygGLUG4wyBsfMgZp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McKr9jNUGUjWpGPHRS9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fB4YD4AkS47BhCPPnMp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BWHG2Mp0qaGLJyS1j3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pVNUJNEkOvEsT9ps5I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Kr6jpl0EqMijqJ.PEVr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0tMTqNgUK.1VxBejce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vSN18h5R6.bzVZsHwTL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VMO0kSOSq3_EfdkT6g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nfSWCWTAK1dXAL8y0U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ej25IhyE6W7FgfuAJzd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I2c6ytEukL_.1hpKV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uCYAX__UaKICcEDJqU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psVozuTICaFf.T7fEUH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08</TotalTime>
  <Words>51</Words>
  <Application>Microsoft Office PowerPoint</Application>
  <PresentationFormat>Ekran Gösterisi (4:3)</PresentationFormat>
  <Paragraphs>51</Paragraphs>
  <Slides>1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2</vt:i4>
      </vt:variant>
      <vt:variant>
        <vt:lpstr>Slayt Başlıkları</vt:lpstr>
      </vt:variant>
      <vt:variant>
        <vt:i4>1</vt:i4>
      </vt:variant>
    </vt:vector>
  </HeadingPairs>
  <TitlesOfParts>
    <vt:vector size="4" baseType="lpstr">
      <vt:lpstr>Ofis Teması</vt:lpstr>
      <vt:lpstr>think-cell Slide</vt:lpstr>
      <vt:lpstr>Microsoft Graph Chart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sus11PC</dc:creator>
  <cp:lastModifiedBy>ASUS 14</cp:lastModifiedBy>
  <cp:revision>40</cp:revision>
  <dcterms:created xsi:type="dcterms:W3CDTF">2015-02-16T14:53:23Z</dcterms:created>
  <dcterms:modified xsi:type="dcterms:W3CDTF">2017-10-19T11:02:43Z</dcterms:modified>
</cp:coreProperties>
</file>